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0" r:id="rId1"/>
  </p:sldMasterIdLst>
  <p:notesMasterIdLst>
    <p:notesMasterId r:id="rId10"/>
  </p:notesMasterIdLst>
  <p:sldIdLst>
    <p:sldId id="266" r:id="rId2"/>
    <p:sldId id="257" r:id="rId3"/>
    <p:sldId id="258" r:id="rId4"/>
    <p:sldId id="290" r:id="rId5"/>
    <p:sldId id="291" r:id="rId6"/>
    <p:sldId id="292" r:id="rId7"/>
    <p:sldId id="289" r:id="rId8"/>
    <p:sldId id="293" r:id="rId9"/>
  </p:sldIdLst>
  <p:sldSz cx="12192000" cy="6858000"/>
  <p:notesSz cx="6858000" cy="9144000"/>
  <p:custDataLst>
    <p:tags r:id="rId1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j45322" initials="v" lastIdx="1" clrIdx="0">
    <p:extLst>
      <p:ext uri="{19B8F6BF-5375-455C-9EA6-DF929625EA0E}">
        <p15:presenceInfo xmlns:p15="http://schemas.microsoft.com/office/powerpoint/2012/main" userId="vaj45322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15" autoAdjust="0"/>
    <p:restoredTop sz="96713" autoAdjust="0"/>
  </p:normalViewPr>
  <p:slideViewPr>
    <p:cSldViewPr snapToGrid="0">
      <p:cViewPr>
        <p:scale>
          <a:sx n="100" d="100"/>
          <a:sy n="100" d="100"/>
        </p:scale>
        <p:origin x="854" y="523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B35532-E520-45DB-B758-9A2061812C2C}" type="datetimeFigureOut">
              <a:rPr lang="en-US" smtClean="0"/>
              <a:t>10/27/2021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3CA4AF-CCD2-433A-B3E5-77E1BA35AA0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7468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3F7D5A-F825-4011-893E-D04AC3A358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914379"/>
            <a:ext cx="9144000" cy="1714481"/>
          </a:xfrm>
        </p:spPr>
        <p:txBody>
          <a:bodyPr anchor="b">
            <a:normAutofit/>
          </a:bodyPr>
          <a:lstStyle>
            <a:lvl1pPr algn="ctr">
              <a:defRPr sz="48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F881DB6-53EB-42E5-AC2B-F98C90D574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4873636"/>
            <a:ext cx="8359140" cy="1981195"/>
          </a:xfrm>
        </p:spPr>
        <p:txBody>
          <a:bodyPr/>
          <a:lstStyle>
            <a:lvl1pPr marL="0" indent="0" algn="ctr">
              <a:buNone/>
              <a:defRPr lang="de-DE" sz="2400" kern="1200" dirty="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35F907A-2888-41DF-8275-2A2B19FF26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3E3E8D23-F272-41C6-BE0D-42A7C92B6B5B}"/>
              </a:ext>
            </a:extLst>
          </p:cNvPr>
          <p:cNvCxnSpPr>
            <a:cxnSpLocks/>
          </p:cNvCxnSpPr>
          <p:nvPr userDrawn="1"/>
        </p:nvCxnSpPr>
        <p:spPr>
          <a:xfrm>
            <a:off x="1524000" y="3628860"/>
            <a:ext cx="9144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>
            <a:extLst>
              <a:ext uri="{FF2B5EF4-FFF2-40B4-BE49-F238E27FC236}">
                <a16:creationId xmlns:a16="http://schemas.microsoft.com/office/drawing/2014/main" id="{CD0C50DE-8D0C-41C0-BFFF-FE308CA876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38260" y="5006994"/>
            <a:ext cx="3146545" cy="1714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483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1CB183-3BE6-4FD7-B816-14115F57BC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E54E898A-9CE5-489C-B557-35829A81A3D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B1383AD6-06DE-4E04-BB0D-716027764E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4559096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0914FD1A-1A07-44CA-A4AE-A315FF0F446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A87DDC8-81F7-4DDA-8C63-C9C4759CA9C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0F9FB03E-EC67-4A7F-A593-07DAF9579C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41159094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C1EAEC-1256-45F5-A8C7-48D6175980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75"/>
            <a:ext cx="10515600" cy="1031875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EBF4D65-FAED-415D-8A9E-6AC26AAF03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5314949"/>
          </a:xfrm>
        </p:spPr>
        <p:txBody>
          <a:bodyPr>
            <a:normAutofit/>
          </a:bodyPr>
          <a:lstStyle>
            <a:lvl1pPr>
              <a:buSzPct val="70000"/>
              <a:defRPr sz="2400">
                <a:latin typeface="Frutiger Next LT W1G"/>
              </a:defRPr>
            </a:lvl1pPr>
            <a:lvl2pPr>
              <a:defRPr sz="2000">
                <a:latin typeface="Frutiger Next LT W1G"/>
              </a:defRPr>
            </a:lvl2pPr>
            <a:lvl3pPr>
              <a:defRPr sz="1800">
                <a:latin typeface="Frutiger Next LT W1G"/>
              </a:defRPr>
            </a:lvl3pPr>
            <a:lvl4pPr>
              <a:defRPr sz="1600">
                <a:latin typeface="Frutiger Next LT W1G"/>
              </a:defRPr>
            </a:lvl4pPr>
            <a:lvl5pPr>
              <a:defRPr sz="1600"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3355F329-3101-41B0-B687-E26930499A85}"/>
              </a:ext>
            </a:extLst>
          </p:cNvPr>
          <p:cNvCxnSpPr>
            <a:cxnSpLocks/>
          </p:cNvCxnSpPr>
          <p:nvPr userDrawn="1"/>
        </p:nvCxnSpPr>
        <p:spPr>
          <a:xfrm>
            <a:off x="838200" y="862013"/>
            <a:ext cx="105156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D98DC607-6D4C-41D6-8735-659306FBC6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17464505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C77A33-DBE8-405A-A366-4D0B6E7EEA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22D4F1A-C984-4C3A-8389-9BAA7D0450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Frutiger Next LT W1G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1389DA5E-0B41-46A5-9D21-7FD9CED551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8303102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37220C-04A2-4CE1-8FFC-D27F59BBF0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DB12ABE-A465-4DFF-9677-C4E48EE2564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DCB6BBA-510E-4F62-8B19-D639E14EFB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F0E9021F-7410-43DC-9A62-F4CF7430D1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9862877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74CFF19-6D26-427E-88BD-139A3434E9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65FF3D5-285D-4800-ABA7-F558CC1E57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Frutiger Next LT W1G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E2F7589-90BF-43B8-921B-6B2A83BC00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4B76BF0-327F-4E24-8E87-23A86C8A9F6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lang="de-DE" sz="2400" b="1" kern="1200" dirty="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DA8162A-D2B2-422A-9E93-0143C1AA924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2754B407-BB56-427E-8B78-010A12387F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12299536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7C894F-624A-4D33-81E9-6EF043AA9C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5F223277-B98A-41E2-B146-7774FC35C2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1312571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622A9F2-C285-42E3-835E-64D1134F62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28747298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C883D-2D12-443F-9093-0229FFB888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EB577E3-6B35-4E56-A2E4-782F7A3119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Frutiger Next LT W1G"/>
              </a:defRPr>
            </a:lvl1pPr>
            <a:lvl2pPr>
              <a:defRPr sz="2800">
                <a:latin typeface="Frutiger Next LT W1G"/>
              </a:defRPr>
            </a:lvl2pPr>
            <a:lvl3pPr>
              <a:defRPr sz="2400">
                <a:latin typeface="Frutiger Next LT W1G"/>
              </a:defRPr>
            </a:lvl3pPr>
            <a:lvl4pPr>
              <a:defRPr sz="2000">
                <a:latin typeface="Frutiger Next LT W1G"/>
              </a:defRPr>
            </a:lvl4pPr>
            <a:lvl5pPr>
              <a:defRPr sz="2000">
                <a:latin typeface="Frutiger Next LT W1G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8E37E4-3725-4427-926D-BA965492B1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Frutiger Next LT W1G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0656000C-8377-498D-9BCA-B294B08A72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41637601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4EA7D4-B1D3-4C6C-83C5-6B4A80E1FC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BD945354-8054-4CF6-AA17-94D67C7A5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33A2D70-F568-4C41-9023-D7162EB937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Frutiger Next LT W1G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3B26431B-DF1C-495C-A4D7-C433E8BA0D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0635228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755DD19-CB6C-489F-BD7F-167DFD6B6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7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85569E2-E29C-4C58-8656-FD6EA7368F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0974"/>
            <a:ext cx="10515600" cy="48990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29F4187-1357-409C-83FE-97A3D19910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724948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s://towardsdatascience.com/why-you-should-not-rely-on-t-sne-umap-or-trimap-f8f5dc333e59" TargetMode="Externa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44E08F-257C-495E-A3B6-49530ADF12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943101"/>
            <a:ext cx="9144000" cy="1684019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</a:pPr>
            <a:r>
              <a:rPr lang="en-GB" sz="4400" dirty="0"/>
              <a:t>Data Challenges – </a:t>
            </a:r>
            <a:br>
              <a:rPr lang="en-GB" sz="4400" dirty="0"/>
            </a:br>
            <a:r>
              <a:rPr lang="en-GB" sz="4400" dirty="0"/>
              <a:t>Group A: Task 1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5A7DFBB-3D75-45BD-80B6-99282B541E3B}"/>
              </a:ext>
            </a:extLst>
          </p:cNvPr>
          <p:cNvSpPr/>
          <p:nvPr/>
        </p:nvSpPr>
        <p:spPr>
          <a:xfrm>
            <a:off x="1524000" y="3604260"/>
            <a:ext cx="9144000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D74BFD10-EEBE-4391-8F85-C6161247F57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4780" y="5234939"/>
            <a:ext cx="6202680" cy="1494785"/>
          </a:xfrm>
        </p:spPr>
        <p:txBody>
          <a:bodyPr>
            <a:normAutofit/>
          </a:bodyPr>
          <a:lstStyle/>
          <a:p>
            <a:pPr algn="l"/>
            <a:r>
              <a:rPr lang="de-DE" sz="2000" noProof="0" dirty="0"/>
              <a:t>Team Presentation</a:t>
            </a:r>
            <a:r>
              <a:rPr lang="de-DE" sz="2000" dirty="0"/>
              <a:t>: </a:t>
            </a:r>
            <a:br>
              <a:rPr lang="de-DE" sz="2000" dirty="0"/>
            </a:br>
            <a:r>
              <a:rPr lang="de-DE" sz="2000" dirty="0"/>
              <a:t>Xheni,</a:t>
            </a:r>
            <a:br>
              <a:rPr lang="de-DE" sz="2000" dirty="0"/>
            </a:br>
            <a:r>
              <a:rPr lang="de-DE" sz="2000" dirty="0"/>
              <a:t>Philipp, </a:t>
            </a:r>
            <a:br>
              <a:rPr lang="de-DE" sz="2000" dirty="0"/>
            </a:br>
            <a:r>
              <a:rPr lang="de-DE" sz="2000" dirty="0"/>
              <a:t>Tobias, </a:t>
            </a:r>
            <a:br>
              <a:rPr lang="de-DE" sz="2000" dirty="0"/>
            </a:br>
            <a:r>
              <a:rPr lang="de-DE" sz="2000" dirty="0"/>
              <a:t>Jakob Vanek 5879817</a:t>
            </a:r>
            <a:endParaRPr lang="de-DE" sz="2000" noProof="0" dirty="0"/>
          </a:p>
        </p:txBody>
      </p:sp>
    </p:spTree>
    <p:extLst>
      <p:ext uri="{BB962C8B-B14F-4D97-AF65-F5344CB8AC3E}">
        <p14:creationId xmlns:p14="http://schemas.microsoft.com/office/powerpoint/2010/main" val="12011219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xit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ircle(out)">
                                      <p:cBhvr>
                                        <p:cTn id="6" dur="5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 err="1"/>
              <a:t>Overview</a:t>
            </a:r>
            <a:endParaRPr lang="de-DE" sz="4000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66E2B2D-1DBB-4F8A-811A-994BAA033D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514350" indent="-514350">
              <a:buAutoNum type="arabicPeriod"/>
            </a:pPr>
            <a:r>
              <a:rPr lang="de-DE" sz="2800" noProof="0" dirty="0"/>
              <a:t>Access </a:t>
            </a:r>
            <a:r>
              <a:rPr lang="de-DE" sz="2800" noProof="0" dirty="0" err="1"/>
              <a:t>to</a:t>
            </a:r>
            <a:r>
              <a:rPr lang="de-DE" sz="2800" noProof="0" dirty="0"/>
              <a:t> </a:t>
            </a:r>
            <a:r>
              <a:rPr lang="de-DE" sz="2800" noProof="0" dirty="0" err="1"/>
              <a:t>the</a:t>
            </a:r>
            <a:r>
              <a:rPr lang="de-DE" sz="2800" noProof="0" dirty="0"/>
              <a:t> </a:t>
            </a:r>
            <a:r>
              <a:rPr lang="de-DE" sz="2800" noProof="0" dirty="0" err="1"/>
              <a:t>data</a:t>
            </a:r>
            <a:r>
              <a:rPr lang="de-DE" sz="2800" noProof="0" dirty="0"/>
              <a:t> </a:t>
            </a:r>
            <a:r>
              <a:rPr lang="de-DE" sz="2800" noProof="0" dirty="0" err="1"/>
              <a:t>set</a:t>
            </a:r>
            <a:endParaRPr lang="de-DE" sz="2800" noProof="0" dirty="0"/>
          </a:p>
          <a:p>
            <a:pPr marL="514350" indent="-514350">
              <a:buAutoNum type="arabicPeriod"/>
            </a:pPr>
            <a:r>
              <a:rPr lang="de-DE" sz="2800" dirty="0"/>
              <a:t>Manual </a:t>
            </a:r>
            <a:r>
              <a:rPr lang="de-DE" sz="2800" dirty="0" err="1"/>
              <a:t>data</a:t>
            </a:r>
            <a:r>
              <a:rPr lang="de-DE" sz="2800" dirty="0"/>
              <a:t> </a:t>
            </a:r>
            <a:r>
              <a:rPr lang="de-DE" sz="2800" dirty="0" err="1"/>
              <a:t>exploration</a:t>
            </a:r>
            <a:endParaRPr lang="de-DE" sz="2800" dirty="0"/>
          </a:p>
          <a:p>
            <a:pPr marL="514350" indent="-514350">
              <a:buAutoNum type="arabicPeriod"/>
            </a:pPr>
            <a:r>
              <a:rPr lang="de-DE" sz="2800" noProof="0" dirty="0" err="1"/>
              <a:t>Dimensionality</a:t>
            </a:r>
            <a:r>
              <a:rPr lang="de-DE" sz="2800" noProof="0" dirty="0"/>
              <a:t> </a:t>
            </a:r>
            <a:r>
              <a:rPr lang="de-DE" sz="2800" noProof="0" dirty="0" err="1"/>
              <a:t>reduction</a:t>
            </a:r>
            <a:r>
              <a:rPr lang="de-DE" sz="2800" noProof="0" dirty="0"/>
              <a:t> </a:t>
            </a:r>
            <a:r>
              <a:rPr lang="de-DE" sz="2800" noProof="0" dirty="0" err="1"/>
              <a:t>techniques</a:t>
            </a:r>
            <a:endParaRPr lang="de-DE" sz="2800" noProof="0" dirty="0"/>
          </a:p>
          <a:p>
            <a:pPr marL="514350" indent="-514350">
              <a:buAutoNum type="arabicPeriod"/>
            </a:pPr>
            <a:r>
              <a:rPr lang="de-DE" sz="2800" noProof="0" dirty="0"/>
              <a:t>Web </a:t>
            </a:r>
            <a:r>
              <a:rPr lang="de-DE" sz="2800" noProof="0" dirty="0" err="1"/>
              <a:t>app</a:t>
            </a:r>
            <a:r>
              <a:rPr lang="de-DE" sz="2800" noProof="0" dirty="0"/>
              <a:t> </a:t>
            </a:r>
            <a:r>
              <a:rPr lang="de-DE" sz="2800" noProof="0" dirty="0" err="1"/>
              <a:t>development</a:t>
            </a:r>
            <a:r>
              <a:rPr lang="de-DE" sz="2800" noProof="0" dirty="0"/>
              <a:t> </a:t>
            </a:r>
            <a:r>
              <a:rPr lang="de-DE" sz="2800" noProof="0" dirty="0" err="1"/>
              <a:t>framework</a:t>
            </a:r>
            <a:endParaRPr lang="de-DE" sz="28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A1398BF-DFBF-44E7-9DCE-C51BEC3559DA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Overview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</p:spTree>
    <p:extLst>
      <p:ext uri="{BB962C8B-B14F-4D97-AF65-F5344CB8AC3E}">
        <p14:creationId xmlns:p14="http://schemas.microsoft.com/office/powerpoint/2010/main" val="37688791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/>
              <a:t>1. Access </a:t>
            </a:r>
            <a:r>
              <a:rPr lang="de-DE" sz="4000" noProof="0" dirty="0" err="1"/>
              <a:t>to</a:t>
            </a:r>
            <a:r>
              <a:rPr lang="de-DE" sz="4000" noProof="0" dirty="0"/>
              <a:t> </a:t>
            </a:r>
            <a:r>
              <a:rPr lang="de-DE" sz="4000" noProof="0" dirty="0" err="1"/>
              <a:t>the</a:t>
            </a:r>
            <a:r>
              <a:rPr lang="de-DE" sz="4000" noProof="0" dirty="0"/>
              <a:t> </a:t>
            </a:r>
            <a:r>
              <a:rPr lang="de-DE" sz="4000" noProof="0" dirty="0" err="1"/>
              <a:t>data</a:t>
            </a:r>
            <a:r>
              <a:rPr lang="de-DE" sz="4000" noProof="0" dirty="0"/>
              <a:t> </a:t>
            </a:r>
            <a:r>
              <a:rPr lang="de-DE" sz="4000" noProof="0" dirty="0" err="1"/>
              <a:t>set</a:t>
            </a:r>
            <a:endParaRPr lang="de-DE" sz="4000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3693361"/>
          </a:xfrm>
        </p:spPr>
        <p:txBody>
          <a:bodyPr>
            <a:normAutofit/>
          </a:bodyPr>
          <a:lstStyle/>
          <a:p>
            <a:r>
              <a:rPr lang="de-DE" sz="2400" noProof="0" dirty="0" err="1"/>
              <a:t>We</a:t>
            </a:r>
            <a:r>
              <a:rPr lang="de-DE" sz="2400" noProof="0" dirty="0"/>
              <a:t> </a:t>
            </a:r>
            <a:r>
              <a:rPr lang="de-DE" sz="2400" noProof="0" dirty="0" err="1"/>
              <a:t>decided</a:t>
            </a:r>
            <a:r>
              <a:rPr lang="de-DE" sz="2400" noProof="0" dirty="0"/>
              <a:t> </a:t>
            </a:r>
            <a:r>
              <a:rPr lang="de-DE" sz="2400" noProof="0" dirty="0" err="1"/>
              <a:t>to</a:t>
            </a:r>
            <a:r>
              <a:rPr lang="de-DE" sz="2400" noProof="0" dirty="0"/>
              <a:t> </a:t>
            </a:r>
            <a:r>
              <a:rPr lang="de-DE" sz="2400" noProof="0" dirty="0" err="1"/>
              <a:t>use</a:t>
            </a:r>
            <a:r>
              <a:rPr lang="de-DE" sz="2400" noProof="0" dirty="0"/>
              <a:t> </a:t>
            </a:r>
            <a:r>
              <a:rPr lang="de-DE" sz="2400" noProof="0" dirty="0" err="1"/>
              <a:t>panda-dataframes</a:t>
            </a:r>
            <a:r>
              <a:rPr lang="de-DE" dirty="0"/>
              <a:t> in </a:t>
            </a:r>
            <a:r>
              <a:rPr lang="de-DE" dirty="0" err="1"/>
              <a:t>combinatio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sz="2400" noProof="0" dirty="0"/>
              <a:t> </a:t>
            </a:r>
            <a:r>
              <a:rPr lang="de-DE" sz="2400" noProof="0" dirty="0" err="1"/>
              <a:t>object</a:t>
            </a:r>
            <a:r>
              <a:rPr lang="de-DE" sz="2400" noProof="0" dirty="0"/>
              <a:t> </a:t>
            </a:r>
            <a:r>
              <a:rPr lang="de-DE" sz="2400" noProof="0" dirty="0" err="1"/>
              <a:t>oriented</a:t>
            </a:r>
            <a:r>
              <a:rPr lang="de-DE" sz="2400" noProof="0" dirty="0"/>
              <a:t> </a:t>
            </a:r>
            <a:r>
              <a:rPr lang="de-DE" sz="2400" noProof="0" dirty="0" err="1"/>
              <a:t>classes</a:t>
            </a:r>
            <a:r>
              <a:rPr lang="de-DE" sz="2400" noProof="0" dirty="0"/>
              <a:t> </a:t>
            </a:r>
            <a:r>
              <a:rPr lang="de-DE" sz="2400" noProof="0" dirty="0" err="1"/>
              <a:t>for</a:t>
            </a:r>
            <a:r>
              <a:rPr lang="de-DE" sz="2400" noProof="0" dirty="0"/>
              <a:t> </a:t>
            </a:r>
            <a:r>
              <a:rPr lang="de-DE" sz="2400" noProof="0" dirty="0" err="1"/>
              <a:t>each</a:t>
            </a:r>
            <a:r>
              <a:rPr lang="de-DE" sz="2400" noProof="0" dirty="0"/>
              <a:t> </a:t>
            </a:r>
            <a:r>
              <a:rPr lang="de-DE" sz="2400" noProof="0" dirty="0" err="1"/>
              <a:t>patient</a:t>
            </a:r>
            <a:endParaRPr lang="de-DE" sz="24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1. Access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to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the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ata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set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</p:spTree>
    <p:extLst>
      <p:ext uri="{BB962C8B-B14F-4D97-AF65-F5344CB8AC3E}">
        <p14:creationId xmlns:p14="http://schemas.microsoft.com/office/powerpoint/2010/main" val="9091633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/>
              <a:t>2. Manual </a:t>
            </a:r>
            <a:r>
              <a:rPr lang="de-DE" sz="4000" noProof="0" dirty="0" err="1"/>
              <a:t>data</a:t>
            </a:r>
            <a:r>
              <a:rPr lang="de-DE" sz="4000" noProof="0" dirty="0"/>
              <a:t> </a:t>
            </a:r>
            <a:r>
              <a:rPr lang="de-DE" sz="4000" noProof="0" dirty="0" err="1"/>
              <a:t>exploration</a:t>
            </a:r>
            <a:endParaRPr lang="de-DE" sz="4000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3693361"/>
          </a:xfrm>
        </p:spPr>
        <p:txBody>
          <a:bodyPr>
            <a:normAutofit/>
          </a:bodyPr>
          <a:lstStyle/>
          <a:p>
            <a:r>
              <a:rPr lang="de-DE" sz="2400" noProof="0" dirty="0"/>
              <a:t>Main Task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2. Manual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ata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exploration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</p:spTree>
    <p:extLst>
      <p:ext uri="{BB962C8B-B14F-4D97-AF65-F5344CB8AC3E}">
        <p14:creationId xmlns:p14="http://schemas.microsoft.com/office/powerpoint/2010/main" val="37551144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/>
              <a:t>3. </a:t>
            </a:r>
            <a:r>
              <a:rPr lang="de-DE" sz="4000" noProof="0" dirty="0" err="1"/>
              <a:t>Dimensionality</a:t>
            </a:r>
            <a:r>
              <a:rPr lang="de-DE" sz="4000" noProof="0" dirty="0"/>
              <a:t> </a:t>
            </a:r>
            <a:r>
              <a:rPr lang="de-DE" sz="4000" noProof="0" dirty="0" err="1"/>
              <a:t>reduction</a:t>
            </a:r>
            <a:r>
              <a:rPr lang="de-DE" sz="4000" noProof="0" dirty="0"/>
              <a:t> </a:t>
            </a:r>
            <a:r>
              <a:rPr lang="de-DE" sz="4000" noProof="0" dirty="0" err="1"/>
              <a:t>techniques</a:t>
            </a:r>
            <a:endParaRPr lang="de-DE" sz="4000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3693361"/>
          </a:xfrm>
        </p:spPr>
        <p:txBody>
          <a:bodyPr>
            <a:normAutofit/>
          </a:bodyPr>
          <a:lstStyle/>
          <a:p>
            <a:r>
              <a:rPr lang="de-DE" sz="2400" noProof="0" dirty="0" err="1"/>
              <a:t>From</a:t>
            </a:r>
            <a:r>
              <a:rPr lang="de-DE" sz="2400" noProof="0" dirty="0"/>
              <a:t> </a:t>
            </a:r>
            <a:r>
              <a:rPr lang="de-DE" sz="2400" noProof="0" dirty="0" err="1"/>
              <a:t>blog</a:t>
            </a:r>
            <a:r>
              <a:rPr lang="de-DE" sz="2400" noProof="0" dirty="0"/>
              <a:t> </a:t>
            </a:r>
            <a:r>
              <a:rPr lang="de-DE" sz="2400" noProof="0" dirty="0" err="1"/>
              <a:t>post</a:t>
            </a:r>
            <a:r>
              <a:rPr lang="de-DE" sz="2400" noProof="0" dirty="0"/>
              <a:t>: </a:t>
            </a:r>
            <a:r>
              <a:rPr lang="de-DE" sz="2400" noProof="0" dirty="0">
                <a:hlinkClick r:id="rId2"/>
              </a:rPr>
              <a:t>https://towardsdatascience.com/why-you-should-not-rely-on-t-sne-umap-or-trimap-f8f5dc333e59</a:t>
            </a:r>
            <a:r>
              <a:rPr lang="de-DE" sz="2400" noProof="0" dirty="0"/>
              <a:t> 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3.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imensionality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reduction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techniques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6795B717-9243-4D6F-806B-919363BAA5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8813" y="2200275"/>
            <a:ext cx="8334375" cy="2457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043876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/>
              <a:t>4. Web </a:t>
            </a:r>
            <a:r>
              <a:rPr lang="de-DE" sz="4000" noProof="0" dirty="0" err="1"/>
              <a:t>app</a:t>
            </a:r>
            <a:r>
              <a:rPr lang="de-DE" sz="4000" noProof="0" dirty="0"/>
              <a:t> </a:t>
            </a:r>
            <a:r>
              <a:rPr lang="de-DE" sz="4000" noProof="0" dirty="0" err="1"/>
              <a:t>development</a:t>
            </a:r>
            <a:r>
              <a:rPr lang="de-DE" sz="4000" noProof="0" dirty="0"/>
              <a:t> </a:t>
            </a:r>
            <a:r>
              <a:rPr lang="de-DE" sz="4000" noProof="0" dirty="0" err="1"/>
              <a:t>framework</a:t>
            </a:r>
            <a:endParaRPr lang="de-DE" sz="4000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3693361"/>
          </a:xfrm>
        </p:spPr>
        <p:txBody>
          <a:bodyPr>
            <a:normAutofit/>
          </a:bodyPr>
          <a:lstStyle/>
          <a:p>
            <a:r>
              <a:rPr lang="de-DE" sz="2400" noProof="0" dirty="0" err="1"/>
              <a:t>We</a:t>
            </a:r>
            <a:r>
              <a:rPr lang="de-DE" sz="2400" noProof="0" dirty="0"/>
              <a:t> </a:t>
            </a:r>
            <a:r>
              <a:rPr lang="de-DE" sz="2400" noProof="0" dirty="0" err="1"/>
              <a:t>chose</a:t>
            </a:r>
            <a:r>
              <a:rPr lang="de-DE" sz="2400" noProof="0" dirty="0"/>
              <a:t> </a:t>
            </a:r>
            <a:r>
              <a:rPr lang="de-DE" sz="2400" noProof="0" dirty="0" err="1"/>
              <a:t>streamlit</a:t>
            </a:r>
            <a:r>
              <a:rPr lang="de-DE" sz="2400" noProof="0" dirty="0"/>
              <a:t> after </a:t>
            </a:r>
            <a:r>
              <a:rPr lang="de-DE" sz="2400" noProof="0" dirty="0" err="1"/>
              <a:t>comparing</a:t>
            </a:r>
            <a:r>
              <a:rPr lang="de-DE" sz="2400" noProof="0" dirty="0"/>
              <a:t> </a:t>
            </a:r>
            <a:r>
              <a:rPr lang="de-DE" sz="2400" noProof="0" dirty="0" err="1"/>
              <a:t>it</a:t>
            </a:r>
            <a:r>
              <a:rPr lang="de-DE" sz="2400" noProof="0" dirty="0"/>
              <a:t> </a:t>
            </a:r>
            <a:r>
              <a:rPr lang="de-DE" sz="2400" noProof="0" dirty="0" err="1"/>
              <a:t>to</a:t>
            </a:r>
            <a:r>
              <a:rPr lang="de-DE" sz="2400" noProof="0" dirty="0"/>
              <a:t> </a:t>
            </a:r>
            <a:r>
              <a:rPr lang="de-DE" sz="2400" noProof="0" dirty="0" err="1"/>
              <a:t>popular</a:t>
            </a:r>
            <a:r>
              <a:rPr lang="de-DE" sz="2400" noProof="0" dirty="0"/>
              <a:t> alternatives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4. Web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app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evelopment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framework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C646A03-F853-41D1-BB20-D4BF60AAD3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0822" y="1538724"/>
            <a:ext cx="7230356" cy="4938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0661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80E37E-6F99-460C-8E27-16F021F524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/>
              <a:t>Outlook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86BB7297-82EE-41CA-AC8B-70FBBA5DE1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ADA1716-4D10-41DC-9E5D-26FAB3E41D11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Outlook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DC8D6FEE-5A62-4CCD-A03C-1AC7B232FA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5266689"/>
          </a:xfrm>
        </p:spPr>
        <p:txBody>
          <a:bodyPr/>
          <a:lstStyle/>
          <a:p>
            <a:r>
              <a:rPr lang="en-US" dirty="0"/>
              <a:t>This dataset can now be </a:t>
            </a:r>
            <a:r>
              <a:rPr lang="en-US" dirty="0" err="1"/>
              <a:t>analysed</a:t>
            </a:r>
            <a:r>
              <a:rPr lang="en-US" dirty="0"/>
              <a:t> with different machine learning tools in python</a:t>
            </a:r>
          </a:p>
          <a:p>
            <a:endParaRPr lang="en-US" dirty="0"/>
          </a:p>
          <a:p>
            <a:r>
              <a:rPr lang="en-US" dirty="0"/>
              <a:t>Dimensionality reduction will be a helpful step to visualize the data</a:t>
            </a:r>
          </a:p>
          <a:p>
            <a:endParaRPr lang="en-US" dirty="0"/>
          </a:p>
          <a:p>
            <a:r>
              <a:rPr lang="en-US" dirty="0"/>
              <a:t>The final presentation of results will be enabled within a </a:t>
            </a:r>
            <a:r>
              <a:rPr lang="en-US" dirty="0" err="1"/>
              <a:t>streamlit</a:t>
            </a:r>
            <a:r>
              <a:rPr lang="en-US" dirty="0"/>
              <a:t> web app</a:t>
            </a:r>
          </a:p>
        </p:txBody>
      </p:sp>
    </p:spTree>
    <p:extLst>
      <p:ext uri="{BB962C8B-B14F-4D97-AF65-F5344CB8AC3E}">
        <p14:creationId xmlns:p14="http://schemas.microsoft.com/office/powerpoint/2010/main" val="9584212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44E08F-257C-495E-A3B6-49530ADF12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943101"/>
            <a:ext cx="9144000" cy="1684019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</a:pPr>
            <a:r>
              <a:rPr lang="en-GB" sz="4400" dirty="0"/>
              <a:t>Data Challenges – </a:t>
            </a:r>
            <a:br>
              <a:rPr lang="en-GB" sz="4400" dirty="0"/>
            </a:br>
            <a:r>
              <a:rPr lang="en-GB" sz="4400" dirty="0"/>
              <a:t>Group A: Task 1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36CC674-8C6C-40AF-B398-937F8B3C210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4780" y="5234939"/>
            <a:ext cx="6202680" cy="1494785"/>
          </a:xfrm>
        </p:spPr>
        <p:txBody>
          <a:bodyPr>
            <a:normAutofit/>
          </a:bodyPr>
          <a:lstStyle/>
          <a:p>
            <a:pPr algn="l"/>
            <a:r>
              <a:rPr lang="de-DE" sz="2000" noProof="0" dirty="0"/>
              <a:t>Team Presentation</a:t>
            </a:r>
            <a:r>
              <a:rPr lang="de-DE" sz="2000" dirty="0"/>
              <a:t>: </a:t>
            </a:r>
            <a:br>
              <a:rPr lang="de-DE" sz="2000" dirty="0"/>
            </a:br>
            <a:r>
              <a:rPr lang="de-DE" sz="2000" dirty="0"/>
              <a:t>Xheni,</a:t>
            </a:r>
            <a:br>
              <a:rPr lang="de-DE" sz="2000" dirty="0"/>
            </a:br>
            <a:r>
              <a:rPr lang="de-DE" sz="2000" dirty="0"/>
              <a:t>Philipp, </a:t>
            </a:r>
            <a:br>
              <a:rPr lang="de-DE" sz="2000" dirty="0"/>
            </a:br>
            <a:r>
              <a:rPr lang="de-DE" sz="2000" dirty="0"/>
              <a:t>Tobias, </a:t>
            </a:r>
            <a:br>
              <a:rPr lang="de-DE" sz="2000" dirty="0"/>
            </a:br>
            <a:r>
              <a:rPr lang="de-DE" sz="2000" dirty="0"/>
              <a:t>Jakob Vanek 5879817</a:t>
            </a:r>
            <a:endParaRPr lang="de-DE" sz="2000" noProof="0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5A7DFBB-3D75-45BD-80B6-99282B541E3B}"/>
              </a:ext>
            </a:extLst>
          </p:cNvPr>
          <p:cNvSpPr/>
          <p:nvPr/>
        </p:nvSpPr>
        <p:spPr>
          <a:xfrm>
            <a:off x="1524000" y="3604260"/>
            <a:ext cx="9144000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22713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xit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ircle(out)">
                                      <p:cBhvr>
                                        <p:cTn id="6" dur="5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ambria-Calibri">
      <a:majorFont>
        <a:latin typeface="Cambria" panose="02040503050406030204"/>
        <a:ea typeface=""/>
        <a:cs typeface=""/>
        <a:font script="Jpan" typeface="ＭＳ Ｐゴシック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94</Words>
  <Application>Microsoft Office PowerPoint</Application>
  <PresentationFormat>Breitbild</PresentationFormat>
  <Paragraphs>35</Paragraphs>
  <Slides>8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4" baseType="lpstr">
      <vt:lpstr>Arial</vt:lpstr>
      <vt:lpstr>Calibri</vt:lpstr>
      <vt:lpstr>Cambria</vt:lpstr>
      <vt:lpstr>Frutiger Next LT W1G</vt:lpstr>
      <vt:lpstr>Wingdings</vt:lpstr>
      <vt:lpstr>Office</vt:lpstr>
      <vt:lpstr>Data Challenges –  Group A: Task 1</vt:lpstr>
      <vt:lpstr>Overview</vt:lpstr>
      <vt:lpstr>1. Access to the data set</vt:lpstr>
      <vt:lpstr>2. Manual data exploration</vt:lpstr>
      <vt:lpstr>3. Dimensionality reduction techniques</vt:lpstr>
      <vt:lpstr>4. Web app development framework</vt:lpstr>
      <vt:lpstr>Outlook</vt:lpstr>
      <vt:lpstr>Data Challenges –  Group A: Task 1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yber Threat Intelligence –  Analysis of the State of the Art</dc:title>
  <dc:creator>vaj45322</dc:creator>
  <cp:lastModifiedBy>fjzbvpsspf@goetheuniversitaet.onmicrosoft.com</cp:lastModifiedBy>
  <cp:revision>63</cp:revision>
  <dcterms:created xsi:type="dcterms:W3CDTF">2021-06-28T09:55:05Z</dcterms:created>
  <dcterms:modified xsi:type="dcterms:W3CDTF">2021-10-27T17:23:33Z</dcterms:modified>
</cp:coreProperties>
</file>